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34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" y="1008"/>
            <a:ext cx="12190404" cy="6855737"/>
          </a:xfrm>
          <a:prstGeom prst="rect">
            <a:avLst/>
          </a:prstGeom>
        </p:spPr>
      </p:pic>
      <p:sp>
        <p:nvSpPr>
          <p:cNvPr id="8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36570" y="738644"/>
            <a:ext cx="10261282" cy="3080192"/>
          </a:xfrm>
        </p:spPr>
        <p:txBody>
          <a:bodyPr anchor="b" anchorCtr="0">
            <a:normAutofit/>
          </a:bodyPr>
          <a:lstStyle>
            <a:lvl1pPr>
              <a:lnSpc>
                <a:spcPct val="75000"/>
              </a:lnSpc>
              <a:defRPr sz="6400">
                <a:solidFill>
                  <a:schemeClr val="accent1"/>
                </a:solidFill>
                <a:latin typeface="NAB Impact" pitchFamily="50" charset="0"/>
              </a:defRPr>
            </a:lvl1pPr>
          </a:lstStyle>
          <a:p>
            <a:r>
              <a:rPr lang="en-US" noProof="0" dirty="0"/>
              <a:t>Click to add title</a:t>
            </a:r>
            <a:endParaRPr lang="en-AU" noProof="0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36570" y="4016159"/>
            <a:ext cx="10261282" cy="1142809"/>
          </a:xfrm>
        </p:spPr>
        <p:txBody>
          <a:bodyPr lIns="0" rIns="0"/>
          <a:lstStyle>
            <a:lvl1pPr marL="0" indent="0">
              <a:lnSpc>
                <a:spcPct val="80000"/>
              </a:lnSpc>
              <a:spcBef>
                <a:spcPct val="0"/>
              </a:spcBef>
              <a:buFont typeface="Wingdings" pitchFamily="2" charset="2"/>
              <a:buNone/>
              <a:defRPr sz="2800" cap="all" baseline="0">
                <a:solidFill>
                  <a:schemeClr val="tx1"/>
                </a:solidFill>
                <a:latin typeface="NAB Impact" pitchFamily="50" charset="0"/>
              </a:defRPr>
            </a:lvl1pPr>
          </a:lstStyle>
          <a:p>
            <a:r>
              <a:rPr lang="en-US" noProof="0" dirty="0"/>
              <a:t>Click to add subtitle</a:t>
            </a:r>
            <a:endParaRPr lang="en-AU" noProof="0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6570" y="6457589"/>
            <a:ext cx="10261282" cy="27852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47884" rIns="0" bIns="47884" anchor="b" anchorCtr="0">
            <a:noAutofit/>
          </a:bodyPr>
          <a:lstStyle>
            <a:lvl1pPr marL="0" indent="0" algn="l" defTabSz="656011" rtl="0" fontAlgn="base">
              <a:spcBef>
                <a:spcPct val="50000"/>
              </a:spcBef>
              <a:spcAft>
                <a:spcPct val="0"/>
              </a:spcAft>
              <a:buNone/>
              <a:defRPr lang="en-US" sz="1100" kern="1200" baseline="0" smtClean="0">
                <a:solidFill>
                  <a:schemeClr val="tx1"/>
                </a:solidFill>
                <a:latin typeface="Corpid C1 Regular" pitchFamily="34" charset="0"/>
                <a:ea typeface="+mn-ea"/>
                <a:cs typeface="Arial" charset="0"/>
              </a:defRPr>
            </a:lvl1pPr>
            <a:lvl2pPr marL="660384" indent="-660384" algn="l" defTabSz="957776" rtl="0" fontAlgn="base">
              <a:spcBef>
                <a:spcPct val="50000"/>
              </a:spcBef>
              <a:spcAft>
                <a:spcPct val="0"/>
              </a:spcAft>
              <a:defRPr lang="en-US" sz="1000" kern="1200" smtClean="0">
                <a:solidFill>
                  <a:schemeClr val="tx1"/>
                </a:solidFill>
                <a:latin typeface="Corpid C1 Regular" pitchFamily="34" charset="0"/>
                <a:ea typeface="+mn-ea"/>
                <a:cs typeface="Arial" charset="0"/>
              </a:defRPr>
            </a:lvl2pPr>
            <a:lvl3pPr marL="660384" indent="-660384" algn="l" defTabSz="957776" rtl="0" fontAlgn="base">
              <a:spcBef>
                <a:spcPct val="50000"/>
              </a:spcBef>
              <a:spcAft>
                <a:spcPct val="0"/>
              </a:spcAft>
              <a:defRPr lang="en-US" sz="1000" kern="1200" smtClean="0">
                <a:solidFill>
                  <a:schemeClr val="tx1"/>
                </a:solidFill>
                <a:latin typeface="Corpid C1 Regular" pitchFamily="34" charset="0"/>
                <a:ea typeface="+mn-ea"/>
                <a:cs typeface="Arial" charset="0"/>
              </a:defRPr>
            </a:lvl3pPr>
            <a:lvl4pPr marL="660384" indent="-660384" algn="l" defTabSz="957776" rtl="0" fontAlgn="base">
              <a:spcBef>
                <a:spcPct val="50000"/>
              </a:spcBef>
              <a:spcAft>
                <a:spcPct val="0"/>
              </a:spcAft>
              <a:defRPr lang="en-US" sz="1000" kern="1200" smtClean="0">
                <a:solidFill>
                  <a:schemeClr val="tx1"/>
                </a:solidFill>
                <a:latin typeface="Corpid C1 Regular" pitchFamily="34" charset="0"/>
                <a:ea typeface="+mn-ea"/>
                <a:cs typeface="Arial" charset="0"/>
              </a:defRPr>
            </a:lvl4pPr>
            <a:lvl5pPr marL="660384" indent="-660384" algn="l" defTabSz="957776" rtl="0" fontAlgn="base">
              <a:spcBef>
                <a:spcPct val="50000"/>
              </a:spcBef>
              <a:spcAft>
                <a:spcPct val="0"/>
              </a:spcAft>
              <a:defRPr lang="en-AU" sz="1000" kern="1200" dirty="0">
                <a:solidFill>
                  <a:schemeClr val="tx1"/>
                </a:solidFill>
                <a:latin typeface="Corpid C1 Regular" pitchFamily="34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 noProof="0" dirty="0"/>
              <a:t>Insert Date and Author</a:t>
            </a:r>
          </a:p>
        </p:txBody>
      </p:sp>
      <p:pic>
        <p:nvPicPr>
          <p:cNvPr id="11" name="Picture 10" descr="NAB 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6411" y="196953"/>
            <a:ext cx="985083" cy="114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051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4845" y="154065"/>
            <a:ext cx="11521369" cy="75448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846" y="1383696"/>
            <a:ext cx="10971364" cy="4499527"/>
          </a:xfrm>
        </p:spPr>
        <p:txBody>
          <a:bodyPr lIns="0" rIns="0"/>
          <a:lstStyle>
            <a:lvl1pPr>
              <a:defRPr>
                <a:solidFill>
                  <a:schemeClr val="accent1"/>
                </a:solidFill>
              </a:defRPr>
            </a:lvl1pPr>
            <a:lvl2pPr marL="164144" indent="0">
              <a:spcBef>
                <a:spcPts val="0"/>
              </a:spcBef>
              <a:buNone/>
              <a:defRPr/>
            </a:lvl2pPr>
            <a:lvl3pPr marL="492433" indent="-164144">
              <a:spcBef>
                <a:spcPts val="305"/>
              </a:spcBef>
              <a:defRPr/>
            </a:lvl3pPr>
            <a:lvl4pPr marL="812082" indent="-164144">
              <a:spcBef>
                <a:spcPts val="305"/>
              </a:spcBef>
              <a:defRPr/>
            </a:lvl4pPr>
            <a:lvl5pPr marL="1140371" indent="-164144">
              <a:spcBef>
                <a:spcPts val="305"/>
              </a:spcBef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4866B3-8C2A-4B94-AF1A-57C3F889C822}" type="slidenum">
              <a:rPr lang="en-AU"/>
              <a:pPr/>
              <a:t>‹#›</a:t>
            </a:fld>
            <a:endParaRPr lang="en-AU" sz="998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Foot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68772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813" y="1443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3" y="1443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334845" y="154067"/>
            <a:ext cx="11521369" cy="754481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auto">
          <a:xfrm>
            <a:off x="334849" y="944541"/>
            <a:ext cx="11520498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82212" tIns="41107" rIns="82212" bIns="41107"/>
          <a:lstStyle/>
          <a:p>
            <a:endParaRPr lang="en-AU" sz="1566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334849" y="6381329"/>
            <a:ext cx="10421729" cy="288032"/>
          </a:xfrm>
          <a:prstGeom prst="rect">
            <a:avLst/>
          </a:prstGeom>
        </p:spPr>
        <p:txBody>
          <a:bodyPr lIns="0" tIns="0" rIns="0" bIns="0"/>
          <a:lstStyle>
            <a:lvl1pPr marL="531582" indent="-531582">
              <a:spcAft>
                <a:spcPts val="0"/>
              </a:spcAft>
              <a:buNone/>
              <a:defRPr sz="882"/>
            </a:lvl1pPr>
          </a:lstStyle>
          <a:p>
            <a:pPr marL="531582" lvl="0" indent="-531582">
              <a:spcAft>
                <a:spcPts val="0"/>
              </a:spcAft>
              <a:buNone/>
            </a:pPr>
            <a:r>
              <a:rPr lang="en-US" dirty="0"/>
              <a:t>Sources: 	Data sources </a:t>
            </a:r>
            <a:r>
              <a:rPr lang="en-US" dirty="0" err="1"/>
              <a:t>Corpid</a:t>
            </a:r>
            <a:r>
              <a:rPr lang="en-US" dirty="0"/>
              <a:t> Regular 9pt</a:t>
            </a:r>
          </a:p>
          <a:p>
            <a:pPr marL="531582" lvl="0" indent="-531582">
              <a:spcAft>
                <a:spcPts val="0"/>
              </a:spcAft>
              <a:buNone/>
            </a:pPr>
            <a:r>
              <a:rPr lang="en-US" dirty="0"/>
              <a:t>Notes: 	1) Notes </a:t>
            </a:r>
            <a:r>
              <a:rPr lang="en-US" dirty="0" err="1"/>
              <a:t>Corpid</a:t>
            </a:r>
            <a:r>
              <a:rPr lang="en-US" dirty="0"/>
              <a:t> Regular 9pt</a:t>
            </a:r>
          </a:p>
        </p:txBody>
      </p:sp>
    </p:spTree>
    <p:extLst>
      <p:ext uri="{BB962C8B-B14F-4D97-AF65-F5344CB8AC3E}">
        <p14:creationId xmlns:p14="http://schemas.microsoft.com/office/powerpoint/2010/main" val="1013299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34845" y="1353457"/>
            <a:ext cx="10971364" cy="25230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noAutofit/>
          </a:bodyPr>
          <a:lstStyle>
            <a:lvl1pPr marL="0" indent="0" algn="l" defTabSz="946009" rtl="0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None/>
              <a:defRPr lang="en-US" sz="1814" kern="1200" cap="all" baseline="0" smtClean="0">
                <a:solidFill>
                  <a:schemeClr val="accent1"/>
                </a:solidFill>
                <a:latin typeface="NAB Impact" pitchFamily="50" charset="0"/>
                <a:ea typeface="+mn-ea"/>
                <a:cs typeface="+mn-cs"/>
              </a:defRPr>
            </a:lvl1pPr>
            <a:lvl2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2pPr>
            <a:lvl3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3pPr>
            <a:lvl4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4pPr>
            <a:lvl5pPr algn="l" defTabSz="946009" rtl="0" fontAlgn="base">
              <a:spcBef>
                <a:spcPct val="0"/>
              </a:spcBef>
              <a:spcAft>
                <a:spcPct val="0"/>
              </a:spcAft>
              <a:defRPr lang="en-AU" sz="1270" kern="1200" dirty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AU" noProof="0" dirty="0"/>
              <a:t>Chart titl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34845" y="1626771"/>
            <a:ext cx="10971364" cy="141064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spAutoFit/>
          </a:bodyPr>
          <a:lstStyle>
            <a:lvl1pPr marL="0" indent="0" algn="l" defTabSz="946009" rtl="0" fontAlgn="base">
              <a:lnSpc>
                <a:spcPts val="1089"/>
              </a:lnSpc>
              <a:spcBef>
                <a:spcPct val="0"/>
              </a:spcBef>
              <a:spcAft>
                <a:spcPct val="0"/>
              </a:spcAft>
              <a:buNone/>
              <a:defRPr lang="en-US" sz="108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2pPr>
            <a:lvl3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3pPr>
            <a:lvl4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4pPr>
            <a:lvl5pPr algn="l" defTabSz="946009" rtl="0" fontAlgn="base">
              <a:spcBef>
                <a:spcPct val="0"/>
              </a:spcBef>
              <a:spcAft>
                <a:spcPct val="0"/>
              </a:spcAft>
              <a:defRPr lang="en-AU" sz="1270" kern="1200" dirty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AU" noProof="0" dirty="0"/>
              <a:t>Chart sub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845" y="1926855"/>
            <a:ext cx="10971364" cy="3956367"/>
          </a:xfrm>
        </p:spPr>
        <p:txBody>
          <a:bodyPr/>
          <a:lstStyle>
            <a:lvl1pPr>
              <a:defRPr sz="1270"/>
            </a:lvl1pPr>
            <a:lvl2pPr>
              <a:defRPr sz="1270"/>
            </a:lvl2pPr>
            <a:lvl3pPr>
              <a:defRPr sz="1270"/>
            </a:lvl3pPr>
            <a:lvl4pPr>
              <a:defRPr sz="1270"/>
            </a:lvl4pPr>
            <a:lvl5pPr>
              <a:defRPr sz="127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4846" y="6069328"/>
            <a:ext cx="10597853" cy="27201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52144" rIns="0" bIns="52144" anchor="ctr" anchorCtr="0">
            <a:spAutoFit/>
          </a:bodyPr>
          <a:lstStyle>
            <a:lvl1pPr marL="0" marR="0" indent="0" algn="l" defTabSz="94600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  <a:tabLst/>
              <a:defRPr lang="en-US" sz="816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2pPr>
            <a:lvl3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3pPr>
            <a:lvl4pPr algn="l" defTabSz="946009" rtl="0" fontAlgn="base">
              <a:spcBef>
                <a:spcPct val="0"/>
              </a:spcBef>
              <a:spcAft>
                <a:spcPct val="0"/>
              </a:spcAft>
              <a:defRPr lang="en-US" sz="1270" kern="1200" smtClean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4pPr>
            <a:lvl5pPr algn="l" defTabSz="946009" rtl="0" fontAlgn="base">
              <a:spcBef>
                <a:spcPct val="0"/>
              </a:spcBef>
              <a:spcAft>
                <a:spcPct val="0"/>
              </a:spcAft>
              <a:defRPr lang="en-AU" sz="1270" kern="1200" dirty="0">
                <a:solidFill>
                  <a:schemeClr val="accent1"/>
                </a:solidFill>
                <a:latin typeface="Corpid C1 Bold" pitchFamily="34" charset="0"/>
                <a:ea typeface="+mn-ea"/>
                <a:cs typeface="+mn-cs"/>
              </a:defRPr>
            </a:lvl5pPr>
          </a:lstStyle>
          <a:p>
            <a:pPr marL="0" marR="0" lvl="0" indent="0" algn="l" defTabSz="946009" rtl="0" eaLnBrk="1" fontAlgn="base" latinLnBrk="0" hangingPunct="1">
              <a:lnSpc>
                <a:spcPts val="127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  <a:tabLst/>
              <a:defRPr/>
            </a:pPr>
            <a:r>
              <a:rPr lang="en-AU" sz="816" noProof="0" dirty="0">
                <a:latin typeface="Corpid C1 Regular" pitchFamily="34" charset="0"/>
              </a:rPr>
              <a:t>Source: Data Sources Corpid Regular 9p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>
          <a:xfrm>
            <a:off x="334848" y="6535473"/>
            <a:ext cx="524893" cy="293729"/>
          </a:xfrm>
        </p:spPr>
        <p:txBody>
          <a:bodyPr/>
          <a:lstStyle/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4847" y="154065"/>
            <a:ext cx="11521368" cy="7544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92389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3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958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4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020898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_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>
            <p:custDataLst>
              <p:tags r:id="rId1"/>
            </p:custDataLst>
          </p:nvPr>
        </p:nvSpPr>
        <p:spPr bwMode="gray">
          <a:xfrm>
            <a:off x="14480" y="11519"/>
            <a:ext cx="10135867" cy="81331"/>
          </a:xfrm>
          <a:prstGeom prst="rect">
            <a:avLst/>
          </a:prstGeom>
          <a:noFill/>
        </p:spPr>
        <p:txBody>
          <a:bodyPr vert="horz" wrap="square" lIns="32652" tIns="32652" rIns="32652" bIns="32652" rtlCol="0">
            <a:spAutoFit/>
          </a:bodyPr>
          <a:lstStyle/>
          <a:p>
            <a:pPr marL="0" indent="0">
              <a:buNone/>
            </a:pPr>
            <a:r>
              <a:rPr lang="en-AU" sz="100">
                <a:solidFill>
                  <a:srgbClr val="FFFFFF">
                    <a:alpha val="0"/>
                  </a:srgbClr>
                </a:solidFill>
                <a:latin typeface="Corpid C1 Light" panose="020B0303040502060204" pitchFamily="34" charset="0"/>
              </a:rPr>
              <a:t>overall_0_132210079158286871 columns_1_132210079158286871 </a:t>
            </a:r>
          </a:p>
        </p:txBody>
      </p:sp>
      <p:sp>
        <p:nvSpPr>
          <p:cNvPr id="4" name="Rectangle 3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2" tIns="32652" rIns="32652" bIns="326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AU" sz="1451" err="1">
              <a:solidFill>
                <a:srgbClr val="000000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D84DD85-84AE-6441-A3D2-56CF218A98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1143" y="1448759"/>
            <a:ext cx="4597374" cy="2155251"/>
          </a:xfrm>
        </p:spPr>
        <p:txBody>
          <a:bodyPr/>
          <a:lstStyle>
            <a:lvl1pPr>
              <a:lnSpc>
                <a:spcPts val="3374"/>
              </a:lnSpc>
              <a:defRPr sz="3265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  <p:pic>
        <p:nvPicPr>
          <p:cNvPr id="15" name="Picture Placeholder 5" descr="A picture containing toy, airplane&#10;&#10;Description automatically generated">
            <a:extLst>
              <a:ext uri="{FF2B5EF4-FFF2-40B4-BE49-F238E27FC236}">
                <a16:creationId xmlns:a16="http://schemas.microsoft.com/office/drawing/2014/main" id="{1AC9D3DD-A2E3-0349-B1C7-0214CE4504C3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8346" y="0"/>
            <a:ext cx="8293654" cy="6858000"/>
          </a:xfrm>
          <a:custGeom>
            <a:avLst/>
            <a:gdLst>
              <a:gd name="connsiteX0" fmla="*/ 2460978 w 7274226"/>
              <a:gd name="connsiteY0" fmla="*/ 0 h 7561263"/>
              <a:gd name="connsiteX1" fmla="*/ 7274226 w 7274226"/>
              <a:gd name="connsiteY1" fmla="*/ 0 h 7561263"/>
              <a:gd name="connsiteX2" fmla="*/ 7274226 w 7274226"/>
              <a:gd name="connsiteY2" fmla="*/ 7561263 h 7561263"/>
              <a:gd name="connsiteX3" fmla="*/ 0 w 7274226"/>
              <a:gd name="connsiteY3" fmla="*/ 7561263 h 7561263"/>
              <a:gd name="connsiteX4" fmla="*/ 2460978 w 7274226"/>
              <a:gd name="connsiteY4" fmla="*/ 0 h 756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74226" h="7561263">
                <a:moveTo>
                  <a:pt x="2460978" y="0"/>
                </a:moveTo>
                <a:lnTo>
                  <a:pt x="7274226" y="0"/>
                </a:lnTo>
                <a:lnTo>
                  <a:pt x="7274226" y="7561263"/>
                </a:lnTo>
                <a:lnTo>
                  <a:pt x="0" y="7561263"/>
                </a:lnTo>
                <a:lnTo>
                  <a:pt x="2460978" y="0"/>
                </a:lnTo>
                <a:close/>
              </a:path>
            </a:pathLst>
          </a:custGeom>
        </p:spPr>
      </p:pic>
      <p:sp>
        <p:nvSpPr>
          <p:cNvPr id="6" name="Text Placeholder 5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30775" y="4238915"/>
            <a:ext cx="3348456" cy="2319597"/>
          </a:xfrm>
        </p:spPr>
        <p:txBody>
          <a:bodyPr wrap="none" lIns="0" tIns="0" rIns="0" bIns="0" anchor="ctr" anchorCtr="0">
            <a:normAutofit/>
          </a:bodyPr>
          <a:lstStyle>
            <a:lvl1pPr marL="0" indent="0">
              <a:buFontTx/>
              <a:buNone/>
              <a:defRPr sz="15147" baseline="0">
                <a:latin typeface="+mj-lt"/>
              </a:defRPr>
            </a:lvl1pPr>
            <a:lvl2pPr>
              <a:defRPr sz="15419">
                <a:latin typeface="+mj-lt"/>
              </a:defRPr>
            </a:lvl2pPr>
            <a:lvl3pPr>
              <a:defRPr sz="15419">
                <a:latin typeface="+mj-lt"/>
              </a:defRPr>
            </a:lvl3pPr>
            <a:lvl4pPr>
              <a:defRPr sz="15419">
                <a:latin typeface="+mj-lt"/>
              </a:defRPr>
            </a:lvl4pPr>
            <a:lvl5pPr>
              <a:defRPr sz="15419">
                <a:latin typeface="+mj-lt"/>
              </a:defRPr>
            </a:lvl5pPr>
          </a:lstStyle>
          <a:p>
            <a:pPr lvl="0"/>
            <a:r>
              <a:rPr lang="en-US"/>
              <a:t>#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887820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84">
          <p15:clr>
            <a:srgbClr val="CCCCCC"/>
          </p15:clr>
        </p15:guide>
        <p15:guide id="2" pos="6552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4480" y="11519"/>
            <a:ext cx="10135867" cy="81331"/>
          </a:xfrm>
          <a:prstGeom prst="rect">
            <a:avLst/>
          </a:prstGeom>
          <a:noFill/>
        </p:spPr>
        <p:txBody>
          <a:bodyPr vert="horz" wrap="square" lIns="32652" tIns="32652" rIns="32652" bIns="32652" rtlCol="0">
            <a:spAutoFit/>
          </a:bodyPr>
          <a:lstStyle/>
          <a:p>
            <a:pPr marL="0" indent="0">
              <a:buNone/>
            </a:pPr>
            <a:r>
              <a:rPr lang="en-AU" sz="100">
                <a:solidFill>
                  <a:srgbClr val="FFFFFF">
                    <a:alpha val="0"/>
                  </a:srgbClr>
                </a:solidFill>
                <a:latin typeface="Corpid C1 Regular"/>
              </a:rPr>
              <a:t>overall_0_132158346389722912 columns_1_132158346389722912 </a:t>
            </a:r>
          </a:p>
        </p:txBody>
      </p:sp>
      <p:sp>
        <p:nvSpPr>
          <p:cNvPr id="4" name="Rectangle 3"/>
          <p:cNvSpPr/>
          <p:nvPr userDrawn="1">
            <p:custDataLst>
              <p:tags r:id="rId3"/>
            </p:custDataLst>
          </p:nvPr>
        </p:nvSpPr>
        <p:spPr bwMode="gray">
          <a:xfrm>
            <a:off x="11085034" y="6033965"/>
            <a:ext cx="1096328" cy="81557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52" tIns="32652" rIns="32652" bIns="326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AU" sz="1451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0926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84">
          <p15:clr>
            <a:srgbClr val="CCCCCC"/>
          </p15:clr>
        </p15:guide>
        <p15:guide id="2" pos="6552">
          <p15:clr>
            <a:srgbClr val="CCCCCC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no logo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4480" y="11519"/>
            <a:ext cx="10135867" cy="81331"/>
          </a:xfrm>
          <a:prstGeom prst="rect">
            <a:avLst/>
          </a:prstGeom>
          <a:noFill/>
        </p:spPr>
        <p:txBody>
          <a:bodyPr vert="horz" wrap="square" lIns="32652" tIns="32652" rIns="32652" bIns="32652" rtlCol="0">
            <a:spAutoFit/>
          </a:bodyPr>
          <a:lstStyle/>
          <a:p>
            <a:pPr marL="0" indent="0">
              <a:buNone/>
            </a:pPr>
            <a:r>
              <a:rPr lang="en-AU" sz="100">
                <a:solidFill>
                  <a:srgbClr val="FFFFFF">
                    <a:alpha val="0"/>
                  </a:srgbClr>
                </a:solidFill>
                <a:latin typeface="Corpid C1 Regular"/>
              </a:rPr>
              <a:t>overall_0_132158346389722912 columns_1_132158346389722912 </a:t>
            </a:r>
          </a:p>
        </p:txBody>
      </p:sp>
    </p:spTree>
    <p:extLst>
      <p:ext uri="{BB962C8B-B14F-4D97-AF65-F5344CB8AC3E}">
        <p14:creationId xmlns:p14="http://schemas.microsoft.com/office/powerpoint/2010/main" val="3949358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84">
          <p15:clr>
            <a:srgbClr val="CCCCCC"/>
          </p15:clr>
        </p15:guide>
        <p15:guide id="2" pos="6552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0825046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84">
          <p15:clr>
            <a:srgbClr val="CCCCCC"/>
          </p15:clr>
        </p15:guide>
        <p15:guide id="2" pos="6552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tif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A95C389-A27E-487A-8DCC-B9EA907EB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A95C389-A27E-487A-8DCC-B9EA907EB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E80466F-8B45-42BF-BBFE-72D0D45C3A9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NAB Impact" panose="02010608060202020104" pitchFamily="50" charset="0"/>
              <a:ea typeface="+mj-ea"/>
              <a:cs typeface="Arial" panose="020B0604020202020204" pitchFamily="34" charset="0"/>
              <a:sym typeface="NAB Impact" panose="02010608060202020104" pitchFamily="50" charset="0"/>
            </a:endParaRPr>
          </a:p>
        </p:txBody>
      </p:sp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845" y="154065"/>
            <a:ext cx="11521369" cy="75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7884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  <a:endParaRPr lang="en-AU" noProof="0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847" y="1383696"/>
            <a:ext cx="10972076" cy="4499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7884" rIns="0" bIns="478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AU" noProof="0" dirty="0"/>
          </a:p>
        </p:txBody>
      </p:sp>
      <p:sp>
        <p:nvSpPr>
          <p:cNvPr id="19460" name="Line 4"/>
          <p:cNvSpPr>
            <a:spLocks noChangeShapeType="1"/>
          </p:cNvSpPr>
          <p:nvPr/>
        </p:nvSpPr>
        <p:spPr bwMode="auto">
          <a:xfrm>
            <a:off x="334848" y="944541"/>
            <a:ext cx="11520498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lIns="83969" tIns="41985" rIns="83969" bIns="41985"/>
          <a:lstStyle/>
          <a:p>
            <a:endParaRPr lang="en-AU" sz="1800" dirty="0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2086" y="6535474"/>
            <a:ext cx="524894" cy="293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7884" rIns="0" bIns="47884" numCol="1" anchor="t" anchorCtr="0" compatLnSpc="1">
            <a:prstTxWarp prst="textNoShape">
              <a:avLst/>
            </a:prstTxWarp>
          </a:bodyPr>
          <a:lstStyle>
            <a:lvl1pPr algn="l" defTabSz="957776">
              <a:defRPr sz="800" baseline="0">
                <a:solidFill>
                  <a:schemeClr val="tx1"/>
                </a:solidFill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42999" y="6535474"/>
            <a:ext cx="10199216" cy="298768"/>
          </a:xfrm>
          <a:prstGeom prst="rect">
            <a:avLst/>
          </a:prstGeom>
        </p:spPr>
        <p:txBody>
          <a:bodyPr vert="horz" lIns="0" tIns="49588" rIns="0" bIns="41985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AU" dirty="0"/>
              <a:t>Footer</a:t>
            </a:r>
          </a:p>
        </p:txBody>
      </p:sp>
      <p:pic>
        <p:nvPicPr>
          <p:cNvPr id="10" name="Picture 9" descr="NAB logo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7264" y="6142542"/>
            <a:ext cx="500751" cy="58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960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dt="0"/>
  <p:txStyles>
    <p:titleStyle>
      <a:lvl1pPr algn="l" defTabSz="95777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900" cap="all" baseline="0">
          <a:solidFill>
            <a:schemeClr val="accent1"/>
          </a:solidFill>
          <a:latin typeface="NAB Impact" pitchFamily="50" charset="0"/>
          <a:ea typeface="+mj-ea"/>
          <a:cs typeface="+mj-cs"/>
        </a:defRPr>
      </a:lvl1pPr>
      <a:lvl2pPr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2pPr>
      <a:lvl3pPr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3pPr>
      <a:lvl4pPr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4pPr>
      <a:lvl5pPr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5pPr>
      <a:lvl6pPr marL="419847"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6pPr>
      <a:lvl7pPr marL="839694"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7pPr>
      <a:lvl8pPr marL="1259540"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8pPr>
      <a:lvl9pPr marL="1679387" algn="l" defTabSz="957776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Corpid C1 Bold" pitchFamily="34" charset="0"/>
          <a:cs typeface="Arial" charset="0"/>
        </a:defRPr>
      </a:lvl9pPr>
    </p:titleStyle>
    <p:bodyStyle>
      <a:lvl1pPr marL="166189" indent="-166189" algn="l" defTabSz="957776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l"/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498568" indent="-166189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2pPr>
      <a:lvl3pPr marL="822200" indent="-166189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3pPr>
      <a:lvl4pPr marL="1154579" indent="-166189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4pPr>
      <a:lvl5pPr marL="1486957" indent="-166189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5pPr>
      <a:lvl6pPr marL="2677981" indent="-282813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6pPr>
      <a:lvl7pPr marL="3097828" indent="-282813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7pPr>
      <a:lvl8pPr marL="3517675" indent="-282813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8pPr>
      <a:lvl9pPr marL="3937522" indent="-282813" algn="l" defTabSz="957776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AU"/>
              <a:t>Role purpose statement Template</a:t>
            </a:r>
          </a:p>
        </p:txBody>
      </p:sp>
      <p:sp>
        <p:nvSpPr>
          <p:cNvPr id="3" name="btfpLayoutConfig" hidden="1"/>
          <p:cNvSpPr txBox="1"/>
          <p:nvPr>
            <p:custDataLst>
              <p:tags r:id="rId2"/>
            </p:custDataLst>
          </p:nvPr>
        </p:nvSpPr>
        <p:spPr bwMode="gray">
          <a:xfrm>
            <a:off x="1258108" y="11519"/>
            <a:ext cx="724776" cy="81331"/>
          </a:xfrm>
          <a:prstGeom prst="rect">
            <a:avLst/>
          </a:prstGeom>
          <a:noFill/>
        </p:spPr>
        <p:txBody>
          <a:bodyPr vert="horz" wrap="none" lIns="32652" tIns="32652" rIns="32652" bIns="32652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Corpid C1 Regular"/>
                <a:ea typeface="+mn-ea"/>
                <a:cs typeface="Arial"/>
              </a:rPr>
              <a:t>overall_0_132301825390820478 columns_1_132301865183776965 9_1_132301823146380162 43_1_132301834520744357 </a:t>
            </a:r>
          </a:p>
        </p:txBody>
      </p:sp>
      <p:graphicFrame>
        <p:nvGraphicFramePr>
          <p:cNvPr id="52" name="Table 5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3303328"/>
              </p:ext>
            </p:extLst>
          </p:nvPr>
        </p:nvGraphicFramePr>
        <p:xfrm>
          <a:off x="265922" y="1026684"/>
          <a:ext cx="11756572" cy="564298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918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6744">
                  <a:extLst>
                    <a:ext uri="{9D8B030D-6E8A-4147-A177-3AD203B41FA5}">
                      <a16:colId xmlns:a16="http://schemas.microsoft.com/office/drawing/2014/main" val="1901469753"/>
                    </a:ext>
                  </a:extLst>
                </a:gridCol>
                <a:gridCol w="4030971">
                  <a:extLst>
                    <a:ext uri="{9D8B030D-6E8A-4147-A177-3AD203B41FA5}">
                      <a16:colId xmlns:a16="http://schemas.microsoft.com/office/drawing/2014/main" val="580312801"/>
                    </a:ext>
                  </a:extLst>
                </a:gridCol>
              </a:tblGrid>
              <a:tr h="18970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ition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s to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b Grade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56419"/>
                  </a:ext>
                </a:extLst>
              </a:tr>
              <a:tr h="18970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ior Legal Counsel, Everyday</a:t>
                      </a:r>
                      <a:r>
                        <a:rPr lang="en-GB" sz="8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anking &amp; Digital Legal</a:t>
                      </a:r>
                      <a:endParaRPr lang="en-GB" sz="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d of Everyday Banking &amp; Digital Legal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5909"/>
                  </a:ext>
                </a:extLst>
              </a:tr>
              <a:tr h="18970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ect reports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ze of organisation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dget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086309"/>
                  </a:ext>
                </a:extLst>
              </a:tr>
              <a:tr h="189706"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348942"/>
                  </a:ext>
                </a:extLst>
              </a:tr>
              <a:tr h="18970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bilities,</a:t>
                      </a:r>
                      <a:r>
                        <a:rPr lang="en-GB" sz="800" b="1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xperience &amp; Qualification Requirements </a:t>
                      </a:r>
                      <a:endParaRPr lang="en-US" sz="800">
                        <a:latin typeface="+mn-lt"/>
                      </a:endParaRP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68292">
                <a:tc rowSpan="2">
                  <a:txBody>
                    <a:bodyPr/>
                    <a:lstStyle/>
                    <a:p>
                      <a:pPr marL="177800" marR="0" lvl="0" indent="-177800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</a:pPr>
                      <a:r>
                        <a:rPr lang="en-AU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role will provide accurate, innovative and customer and</a:t>
                      </a:r>
                      <a:r>
                        <a:rPr lang="en-AU" sz="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anker</a:t>
                      </a:r>
                      <a:r>
                        <a:rPr lang="en-AU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cussed legal advice</a:t>
                      </a:r>
                      <a:r>
                        <a:rPr lang="en-AU" sz="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redominantly to the Everyday Banking &amp; Personal Engagement domains.  On occasion, this role may be asked to provide legal advice to the Home Ownership domain.</a:t>
                      </a:r>
                      <a:endParaRPr lang="en-A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</a:pPr>
                      <a:r>
                        <a:rPr lang="en-AU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</a:t>
                      </a:r>
                      <a:r>
                        <a:rPr lang="en-AU" sz="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ole will contribute to results for NAB by providing legal advice:</a:t>
                      </a:r>
                    </a:p>
                    <a:p>
                      <a:pPr marL="177800" marR="0" lvl="0" indent="-177800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AU" sz="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relation to essential regulatory requirements; and  </a:t>
                      </a:r>
                    </a:p>
                    <a:p>
                      <a:pPr marL="177800" marR="0" lvl="0" indent="-177800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AU" sz="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ich supports strategy execution work prioritised by the leaders of the Everyday Banking and Personal Engagement domains.</a:t>
                      </a:r>
                      <a:endParaRPr lang="en-A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55948" marR="0" lvl="0" indent="-155948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defRPr/>
                      </a:pP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55948" marR="0" lvl="0" indent="-155948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defRPr/>
                      </a:pP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652" marR="0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lang="en-GB" sz="800" b="0" u="sng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y Capabilities (core NAB capabilities – reduce/ add as needed)</a:t>
                      </a:r>
                      <a:endParaRPr lang="en-GB" sz="800" b="0" u="non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lang="en-AU" sz="8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ustomer Focus  | Collaborates | Decision Quality | Cultivates Innovation | Plans &amp; Aligns | Demonstrates self awareness | Ensures Accountability</a:t>
                      </a:r>
                      <a:endParaRPr lang="en-AU" sz="8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endParaRPr lang="en-GB" sz="800" b="0" u="sng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lang="en-GB" sz="800" b="0" u="sng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ical capabilities (specific to role)</a:t>
                      </a:r>
                    </a:p>
                    <a:p>
                      <a:pPr marL="155948" indent="-155948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</a:pPr>
                      <a:r>
                        <a:rPr lang="en-GB" sz="800" b="0" u="non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ility to apply risk based decision making to legal risk, supporting simplification and innovation.  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32652" marR="32652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lang="en-GB" sz="800" b="0" u="sng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perience</a:t>
                      </a:r>
                      <a:r>
                        <a:rPr lang="en-GB" sz="800" b="0" u="non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GB" sz="700" b="0" i="1" u="non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please be as specific as possible)</a:t>
                      </a:r>
                    </a:p>
                    <a:p>
                      <a:pPr marL="155575" lvl="0" indent="-155575" algn="l" defTabSz="914309" rtl="0" eaLnBrk="1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</a:pPr>
                      <a:r>
                        <a:rPr lang="en-AU" sz="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AU" sz="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ears + legal experience in financial services.</a:t>
                      </a:r>
                    </a:p>
                    <a:p>
                      <a:pPr marL="155948" indent="-155948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</a:pPr>
                      <a:endParaRPr lang="en-GB" sz="800" b="0" u="non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2652" marR="32652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34350">
                <a:tc vMerge="1">
                  <a:txBody>
                    <a:bodyPr/>
                    <a:lstStyle/>
                    <a:p>
                      <a:endParaRPr lang="en-GB" dirty="0">
                        <a:effectLst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lang="en-GB" sz="800" b="0" u="sng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Qualification Requirements</a:t>
                      </a:r>
                      <a:endParaRPr lang="en-GB" sz="800" b="0" u="non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155948" indent="-155948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</a:pPr>
                      <a:r>
                        <a:rPr lang="en-GB" sz="800" b="0" u="non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achelor of Laws</a:t>
                      </a:r>
                    </a:p>
                    <a:p>
                      <a:pPr marL="155948" indent="-155948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</a:pPr>
                      <a:r>
                        <a:rPr lang="en-GB" sz="800" b="0" u="non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years + Post qualification experience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32652" marR="32652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665344109"/>
                  </a:ext>
                </a:extLst>
              </a:tr>
              <a:tr h="18970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Decisions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Accountabilities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50640238"/>
                  </a:ext>
                </a:extLst>
              </a:tr>
              <a:tr h="1053021">
                <a:tc>
                  <a:txBody>
                    <a:bodyPr/>
                    <a:lstStyle/>
                    <a:p>
                      <a:pPr marL="182245" marR="0" lvl="0" indent="-182245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Font typeface="Verdana" panose="020B0604030504040204" pitchFamily="34" charset="0"/>
                        <a:buChar char="•"/>
                      </a:pPr>
                      <a:r>
                        <a:rPr lang="en-AU" sz="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al risk</a:t>
                      </a:r>
                      <a:r>
                        <a:rPr lang="en-AU" sz="8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judgment decisions</a:t>
                      </a:r>
                      <a:endParaRPr lang="en-A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652" marR="32652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55575" indent="-155575" algn="l" rtl="0" eaLnBrk="1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AU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is role will be responsible for legal advice provided to</a:t>
                      </a:r>
                      <a:r>
                        <a:rPr lang="en-AU" sz="8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he everyday banking and personal engagement domains, driving simplification in accordance with the priorities set by the Executive, Everyday Banking and the Executive, Digital, Personal Bank. </a:t>
                      </a:r>
                      <a:endParaRPr lang="en-AU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55575" indent="-155575" algn="l" rtl="0" eaLnBrk="1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AU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main challenge of the role will be to ensure that the everyday banking </a:t>
                      </a:r>
                      <a:r>
                        <a:rPr lang="en-AU" sz="8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main is getting simpler and more customer and banker focussed whilst meeting legal and regulatory requirements.  It will be difficult, but essential, to balance legal requirements with simplicity and automation. </a:t>
                      </a:r>
                      <a:endParaRPr lang="en-AU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652" marR="32652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68567337"/>
                  </a:ext>
                </a:extLst>
              </a:tr>
              <a:tr h="189706"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anose="020B0604030504040204" pitchFamily="34" charset="0"/>
                        <a:buNone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GB" sz="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ey Relationships &amp; Interfaces</a:t>
                      </a: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32652" marR="32652" marT="32652" marB="326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2959977"/>
                  </a:ext>
                </a:extLst>
              </a:tr>
              <a:tr h="931035">
                <a:tc>
                  <a:txBody>
                    <a:bodyPr/>
                    <a:lstStyle/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GB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cutive, Everyday Banking, Personal Bank,</a:t>
                      </a:r>
                    </a:p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GB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cutive, Personal Lending Experience</a:t>
                      </a:r>
                    </a:p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GB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cutive. Digital Engagement, Personal Bank</a:t>
                      </a:r>
                    </a:p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GB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cutive, CRO, Personal Bank</a:t>
                      </a:r>
                    </a:p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endParaRPr kumimoji="0" lang="en-GB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endParaRPr kumimoji="0" lang="en-GB" sz="7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652" marR="32652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dirty="0">
                          <a:latin typeface="+mn-lt"/>
                        </a:rPr>
                        <a:t>Success for this role will be measured</a:t>
                      </a:r>
                      <a:r>
                        <a:rPr lang="en-US" sz="800" baseline="0" dirty="0">
                          <a:latin typeface="+mn-lt"/>
                        </a:rPr>
                        <a:t> by :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800" baseline="0" dirty="0">
                          <a:latin typeface="+mn-lt"/>
                        </a:rPr>
                        <a:t>A reduction in time to  get events to REF;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800" baseline="0" dirty="0">
                          <a:latin typeface="+mn-lt"/>
                        </a:rPr>
                        <a:t>Feedback on quality and clarity of advice from REF and Everyday banking and Personal Engagement domains.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800" baseline="0" dirty="0">
                          <a:latin typeface="+mn-lt"/>
                        </a:rPr>
                        <a:t>An uplift in effective controls applicable to Everyday Banking products;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800" baseline="0" dirty="0" err="1">
                          <a:latin typeface="+mn-lt"/>
                        </a:rPr>
                        <a:t>Rationalisation</a:t>
                      </a:r>
                      <a:r>
                        <a:rPr lang="en-US" sz="800" baseline="0" dirty="0">
                          <a:latin typeface="+mn-lt"/>
                        </a:rPr>
                        <a:t> and simplification of policies and processes applicable to Everyday Banking products and Personal Bank;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800" baseline="0" dirty="0">
                          <a:latin typeface="+mn-lt"/>
                        </a:rPr>
                        <a:t>Uplift in self-service capability in relation to Everyday  Banking products. 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800" dirty="0">
                        <a:latin typeface="+mn-lt"/>
                      </a:endParaRPr>
                    </a:p>
                  </a:txBody>
                  <a:tcPr marL="32652" marR="32652" marT="32652" marB="32652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47792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426670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8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8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8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8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23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5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5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55"/>
  <p:tag name="BAINBULLETSACTIVATED" val="True"/>
  <p:tag name="BAINBULLETSINDENTS" val="1"/>
  <p:tag name="BAINBULLETSLEVELSFINGERPRINT" val="1949116856"/>
  <p:tag name="BAINBULLETSLINESPACING" val="1"/>
  <p:tag name="BTFPBAINBULLET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MnxCpdYEkNBqqRnA22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6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7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7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7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79"/>
</p:tagLst>
</file>

<file path=ppt/theme/theme1.xml><?xml version="1.0" encoding="utf-8"?>
<a:theme xmlns:a="http://schemas.openxmlformats.org/drawingml/2006/main" name="NAB Cover - Pattern 3">
  <a:themeElements>
    <a:clrScheme name="NAB PPT">
      <a:dk1>
        <a:srgbClr val="000000"/>
      </a:dk1>
      <a:lt1>
        <a:srgbClr val="FFFFFF"/>
      </a:lt1>
      <a:dk2>
        <a:srgbClr val="9A9AC8"/>
      </a:dk2>
      <a:lt2>
        <a:srgbClr val="444694"/>
      </a:lt2>
      <a:accent1>
        <a:srgbClr val="FF0000"/>
      </a:accent1>
      <a:accent2>
        <a:srgbClr val="000000"/>
      </a:accent2>
      <a:accent3>
        <a:srgbClr val="D0D0D0"/>
      </a:accent3>
      <a:accent4>
        <a:srgbClr val="878787"/>
      </a:accent4>
      <a:accent5>
        <a:srgbClr val="B2B2B2"/>
      </a:accent5>
      <a:accent6>
        <a:srgbClr val="575757"/>
      </a:accent6>
      <a:hlink>
        <a:srgbClr val="000000"/>
      </a:hlink>
      <a:folHlink>
        <a:srgbClr val="000000"/>
      </a:folHlink>
    </a:clrScheme>
    <a:fontScheme name="NAB">
      <a:majorFont>
        <a:latin typeface="Corpid C1 Bold"/>
        <a:ea typeface=""/>
        <a:cs typeface="Arial"/>
      </a:majorFont>
      <a:minorFont>
        <a:latin typeface="Corpid C1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id C1 Regular" pitchFamily="34" charset="0"/>
          </a:defRPr>
        </a:defPPr>
      </a:lstStyle>
    </a:spDef>
    <a:lnDef>
      <a:spPr bwMode="auto">
        <a:solidFill>
          <a:schemeClr val="hlink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sz="1400" dirty="0" err="1" smtClean="0"/>
        </a:defPPr>
      </a:lstStyle>
    </a:txDef>
  </a:objectDefaults>
  <a:extraClrSchemeLst>
    <a:extraClrScheme>
      <a:clrScheme name="NAB default design 1">
        <a:dk1>
          <a:srgbClr val="000000"/>
        </a:dk1>
        <a:lt1>
          <a:srgbClr val="FFFFFF"/>
        </a:lt1>
        <a:dk2>
          <a:srgbClr val="9A9AC8"/>
        </a:dk2>
        <a:lt2>
          <a:srgbClr val="4C626C"/>
        </a:lt2>
        <a:accent1>
          <a:srgbClr val="FF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0000"/>
        </a:accent6>
        <a:hlink>
          <a:srgbClr val="F2F4F6"/>
        </a:hlink>
        <a:folHlink>
          <a:srgbClr val="A3A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E6DAB8653AB24F9F2331A90212BC78" ma:contentTypeVersion="6" ma:contentTypeDescription="Create a new document." ma:contentTypeScope="" ma:versionID="586654f0ea8959891fa130d59056cbd5">
  <xsd:schema xmlns:xsd="http://www.w3.org/2001/XMLSchema" xmlns:xs="http://www.w3.org/2001/XMLSchema" xmlns:p="http://schemas.microsoft.com/office/2006/metadata/properties" xmlns:ns2="5406554b-37f1-4e4c-9e44-362f877c8aaa" xmlns:ns3="b1d422a1-e5c3-4e2d-9a8f-12149140296c" targetNamespace="http://schemas.microsoft.com/office/2006/metadata/properties" ma:root="true" ma:fieldsID="dc3ef84a4181a0e7235254eaf3a82b3e" ns2:_="" ns3:_="">
    <xsd:import namespace="5406554b-37f1-4e4c-9e44-362f877c8aaa"/>
    <xsd:import namespace="b1d422a1-e5c3-4e2d-9a8f-1214914029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06554b-37f1-4e4c-9e44-362f877c8a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d422a1-e5c3-4e2d-9a8f-12149140296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B1B7DA3-6B83-4E11-8401-DFB4D6E6EEE1}">
  <ds:schemaRefs>
    <ds:schemaRef ds:uri="http://purl.org/dc/elements/1.1/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5406554b-37f1-4e4c-9e44-362f877c8aaa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5C659E-E1F0-459B-896A-684127C0AE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06554b-37f1-4e4c-9e44-362f877c8aaa"/>
    <ds:schemaRef ds:uri="b1d422a1-e5c3-4e2d-9a8f-1214914029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E699E53-52BC-4670-A23C-087952B901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6</TotalTime>
  <Words>425</Words>
  <Application>Microsoft Office PowerPoint</Application>
  <PresentationFormat>Widescreen</PresentationFormat>
  <Paragraphs>4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orpid C1 Bold</vt:lpstr>
      <vt:lpstr>Corpid C1 Light</vt:lpstr>
      <vt:lpstr>Corpid C1 Regular</vt:lpstr>
      <vt:lpstr>NAB Impact</vt:lpstr>
      <vt:lpstr>Verdana</vt:lpstr>
      <vt:lpstr>Wingdings</vt:lpstr>
      <vt:lpstr>NAB Cover - Pattern 3</vt:lpstr>
      <vt:lpstr>think-cell Slide</vt:lpstr>
      <vt:lpstr>Role purpose statement Templ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le purpose statement Template</dc:title>
  <dc:creator>Michelle Clarke</dc:creator>
  <cp:lastModifiedBy>Kirsten Ganley</cp:lastModifiedBy>
  <cp:revision>13</cp:revision>
  <dcterms:created xsi:type="dcterms:W3CDTF">2020-07-09T11:53:55Z</dcterms:created>
  <dcterms:modified xsi:type="dcterms:W3CDTF">2024-09-20T05:4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E6DAB8653AB24F9F2331A90212BC78</vt:lpwstr>
  </property>
  <property fmtid="{D5CDD505-2E9C-101B-9397-08002B2CF9AE}" pid="3" name="MSIP_Label_b00d377c-712a-4212-ac8f-67d0339a635d_Enabled">
    <vt:lpwstr>true</vt:lpwstr>
  </property>
  <property fmtid="{D5CDD505-2E9C-101B-9397-08002B2CF9AE}" pid="4" name="MSIP_Label_b00d377c-712a-4212-ac8f-67d0339a635d_SetDate">
    <vt:lpwstr>2021-08-19T05:31:40Z</vt:lpwstr>
  </property>
  <property fmtid="{D5CDD505-2E9C-101B-9397-08002B2CF9AE}" pid="5" name="MSIP_Label_b00d377c-712a-4212-ac8f-67d0339a635d_Method">
    <vt:lpwstr>Privileged</vt:lpwstr>
  </property>
  <property fmtid="{D5CDD505-2E9C-101B-9397-08002B2CF9AE}" pid="6" name="MSIP_Label_b00d377c-712a-4212-ac8f-67d0339a635d_Name">
    <vt:lpwstr>b00d377c-712a-4212-ac8f-67d0339a635d</vt:lpwstr>
  </property>
  <property fmtid="{D5CDD505-2E9C-101B-9397-08002B2CF9AE}" pid="7" name="MSIP_Label_b00d377c-712a-4212-ac8f-67d0339a635d_SiteId">
    <vt:lpwstr>48d6943f-580e-40b1-a0e1-c07fa3707873</vt:lpwstr>
  </property>
  <property fmtid="{D5CDD505-2E9C-101B-9397-08002B2CF9AE}" pid="8" name="MSIP_Label_b00d377c-712a-4212-ac8f-67d0339a635d_ActionId">
    <vt:lpwstr>f2870467-d1cc-404b-98d6-c503fec81917</vt:lpwstr>
  </property>
  <property fmtid="{D5CDD505-2E9C-101B-9397-08002B2CF9AE}" pid="9" name="MSIP_Label_b00d377c-712a-4212-ac8f-67d0339a635d_ContentBits">
    <vt:lpwstr>0</vt:lpwstr>
  </property>
</Properties>
</file>